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20b54feb8a8d658ab30edc55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7A5BB63-32A3-41D2-8A98-4951C02A6F9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FDE5C20F-0EE7-4D73-B4F9-180D6A2F7A25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410A2E0B-6F7A-4BEB-B2D2-814A8F410176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748B2BBF-4F06-41CE-BD7E-D69A5AEF7EC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5341CE45-A92B-47F2-8F0D-5C74243CC90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616FFC06-CCAA-4D3A-B504-3F9ADEEFF85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Un delicado manejo del producto para la máxima eficiencia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s-ES" sz="800" dirty="0"/>
              <a:t>Valor: </a:t>
            </a:r>
            <a:r>
              <a:rPr lang="es-ES" sz="800" dirty="0">
                <a:solidFill>
                  <a:srgbClr val="000000"/>
                </a:solidFill>
              </a:rPr>
              <a:t>Eficiencia,</a:t>
            </a:r>
            <a:r>
              <a:rPr lang="es-ES" sz="800" dirty="0"/>
              <a:t> flexibilidad</a:t>
            </a:r>
          </a:p>
          <a:p>
            <a:r>
              <a:rPr lang="es-ES" sz="800" dirty="0"/>
              <a:t>Equipo: </a:t>
            </a:r>
            <a:r>
              <a:rPr lang="es-ES" sz="800" dirty="0" err="1"/>
              <a:t>Paletizadores</a:t>
            </a:r>
            <a:r>
              <a:rPr lang="es-ES" sz="800" dirty="0"/>
              <a:t> y </a:t>
            </a:r>
            <a:r>
              <a:rPr lang="es-ES" sz="800" dirty="0" err="1"/>
              <a:t>despaletizadores</a:t>
            </a:r>
            <a:endParaRPr lang="es-ES" sz="800" dirty="0"/>
          </a:p>
          <a:p>
            <a:r>
              <a:rPr lang="es-ES" sz="800" dirty="0"/>
              <a:t>Código de catálogo</a:t>
            </a:r>
            <a:r>
              <a:rPr lang="es-ES" sz="800"/>
              <a:t>: EOL031</a:t>
            </a:r>
            <a:endParaRPr lang="es-ES" sz="8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533A6C7-8C31-4DFB-A9E4-4F3D23922BF7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/>
              <a:t>AXOSMART</a:t>
            </a:r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95B83833-8EF5-4C81-AD44-0BA4557E1725}"/>
              </a:ext>
            </a:extLst>
          </p:cNvPr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es-ES" sz="1000" b="1" dirty="0"/>
              <a:t>Productividad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Garantiza una mayor productividad, precisión, eficiencia y calidad del embalaje gracias a la posibilidad de realizar prensiones de paquetes múltiples en el mismo cicl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Puede manipular todo tipo de embalajes secundarios (cartones, paquetes y cajones) con la máxima precisió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Es ideal para manipular paquetes/envases más delicado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Los cambios de patrón de </a:t>
            </a:r>
            <a:r>
              <a:rPr lang="es-ES" sz="1000" dirty="0" err="1"/>
              <a:t>paletizado</a:t>
            </a:r>
            <a:r>
              <a:rPr lang="es-ES" sz="1000" dirty="0"/>
              <a:t> y de formato son rápidos y su gestión se hace íntegramente a través del </a:t>
            </a:r>
            <a:r>
              <a:rPr lang="es-ES" sz="1000" i="1" dirty="0"/>
              <a:t>software</a:t>
            </a:r>
            <a:r>
              <a:rPr lang="es-ES" sz="1000" dirty="0"/>
              <a:t> (sin necesidad de ajustar de forma manual los mecanismos).</a:t>
            </a:r>
          </a:p>
          <a:p>
            <a:pPr>
              <a:buClr>
                <a:schemeClr val="accent4"/>
              </a:buClr>
            </a:pPr>
            <a:r>
              <a:rPr lang="es-ES" sz="1000" b="1" dirty="0"/>
              <a:t>Mantenimiento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000" dirty="0"/>
              <a:t>Escasa necesidad de mantenimiento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Rettangolo 11">
            <a:extLst>
              <a:ext uri="{FF2B5EF4-FFF2-40B4-BE49-F238E27FC236}">
                <a16:creationId xmlns:a16="http://schemas.microsoft.com/office/drawing/2014/main" id="{3D3E1DD3-3EC1-451E-A452-E79298D9F6B1}"/>
              </a:ext>
            </a:extLst>
          </p:cNvPr>
          <p:cNvSpPr/>
          <p:nvPr/>
        </p:nvSpPr>
        <p:spPr>
          <a:xfrm>
            <a:off x="4757021" y="2071626"/>
            <a:ext cx="38970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es-ES" sz="1000" b="1" dirty="0"/>
              <a:t>AXOSMART</a:t>
            </a:r>
            <a:r>
              <a:rPr lang="es-ES" sz="1000" dirty="0"/>
              <a:t>™ de 1 o 2 módulos es el equipo ideal por el espacio requerido para la instalación y la actualización de la manipulación de productos a la entrada. </a:t>
            </a:r>
          </a:p>
          <a:p>
            <a:r>
              <a:rPr lang="es-ES" sz="1000" dirty="0"/>
              <a:t>Se compone de:</a:t>
            </a:r>
          </a:p>
          <a:p>
            <a:r>
              <a:rPr lang="es-ES" sz="1000" dirty="0"/>
              <a:t>-un transportador de dosificación que cuenta y separa los productos;</a:t>
            </a:r>
          </a:p>
          <a:p>
            <a:r>
              <a:rPr lang="es-ES" sz="1000" dirty="0"/>
              <a:t>-una mesa de transferencia compuesta por una alfombra de cadenas planas (para la canalización y el transporte de los paquetes a la velocidad adecuada);</a:t>
            </a:r>
          </a:p>
          <a:p>
            <a:r>
              <a:rPr lang="es-ES" sz="1000" dirty="0"/>
              <a:t>-uno o más cabezales de prensión, que transfieren y giran los paquetes hasta colocarlos en la posición correcta;</a:t>
            </a:r>
          </a:p>
          <a:p>
            <a:r>
              <a:rPr lang="es-ES" sz="1000" dirty="0"/>
              <a:t>-una mesa de formación de capas para colocar los paquetes de acuerdo con el patrón de paletizado elegid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pic>
        <p:nvPicPr>
          <p:cNvPr id="23" name="Picture 1">
            <a:extLst>
              <a:ext uri="{FF2B5EF4-FFF2-40B4-BE49-F238E27FC236}">
                <a16:creationId xmlns:a16="http://schemas.microsoft.com/office/drawing/2014/main" id="{52A7DF8F-20E6-4EF7-A253-902AA4427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77" y="4389083"/>
            <a:ext cx="1941002" cy="13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>
            <a:extLst>
              <a:ext uri="{FF2B5EF4-FFF2-40B4-BE49-F238E27FC236}">
                <a16:creationId xmlns:a16="http://schemas.microsoft.com/office/drawing/2014/main" id="{CDFC4623-4326-4EFC-98CB-D5E74F175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694" y="4389083"/>
            <a:ext cx="2112828" cy="141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678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7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Un delicado manejo del producto para la máxima eficienci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4</cp:revision>
  <cp:lastPrinted>2017-09-01T14:01:41Z</cp:lastPrinted>
  <dcterms:created xsi:type="dcterms:W3CDTF">2017-07-10T14:51:51Z</dcterms:created>
  <dcterms:modified xsi:type="dcterms:W3CDTF">2019-06-26T13:5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57:48.8943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